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331" r:id="rId2"/>
    <p:sldId id="609" r:id="rId3"/>
    <p:sldId id="7703" r:id="rId4"/>
    <p:sldId id="7714" r:id="rId5"/>
    <p:sldId id="645" r:id="rId6"/>
    <p:sldId id="7704" r:id="rId7"/>
    <p:sldId id="7705" r:id="rId8"/>
    <p:sldId id="7706" r:id="rId9"/>
    <p:sldId id="7707" r:id="rId10"/>
    <p:sldId id="7737" r:id="rId11"/>
    <p:sldId id="7738" r:id="rId12"/>
    <p:sldId id="7708" r:id="rId13"/>
    <p:sldId id="7709" r:id="rId14"/>
    <p:sldId id="7710" r:id="rId15"/>
    <p:sldId id="7711" r:id="rId16"/>
    <p:sldId id="7712" r:id="rId17"/>
    <p:sldId id="7713" r:id="rId18"/>
    <p:sldId id="647" r:id="rId19"/>
    <p:sldId id="7739" r:id="rId20"/>
    <p:sldId id="7725" r:id="rId21"/>
    <p:sldId id="273" r:id="rId22"/>
    <p:sldId id="7736" r:id="rId23"/>
    <p:sldId id="7743" r:id="rId24"/>
    <p:sldId id="7744" r:id="rId25"/>
    <p:sldId id="7740" r:id="rId26"/>
    <p:sldId id="7742" r:id="rId27"/>
    <p:sldId id="7741" r:id="rId28"/>
    <p:sldId id="7735" r:id="rId29"/>
  </p:sldIdLst>
  <p:sldSz cx="12192000" cy="6858000"/>
  <p:notesSz cx="6858000" cy="9144000"/>
  <p:defaultTextStyle>
    <a:defPPr>
      <a:defRPr lang="en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66"/>
    <p:restoredTop sz="94709"/>
  </p:normalViewPr>
  <p:slideViewPr>
    <p:cSldViewPr snapToGrid="0">
      <p:cViewPr varScale="1">
        <p:scale>
          <a:sx n="140" d="100"/>
          <a:sy n="140" d="100"/>
        </p:scale>
        <p:origin x="90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BBC09-13B9-4EC2-A4F3-F8A14766D9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048D70-A765-37C5-90E3-8451B2AC53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3EDBC1-BAF6-F8F4-CA3D-B4C58AA7BD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6/11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C79811-D450-CAC3-1BC3-54B6E33FE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72AF3E-CA4C-786B-6B73-B5A920C16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9704752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0F698-27F3-43FA-28C7-E4C53FDE4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DCBF489-029E-5071-1F59-FEA6A2CBFF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5E3E84-E6E4-5F8A-4E94-FB2BD16C28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6/11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AF4AA0-37C5-781C-D6B4-B1EEA5D7C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CCFB4A-37E9-DD7B-62D7-E3AA60FB1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0850910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9332EFB-831E-3D03-5DEA-D18A62A644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E040E7-AB2C-8BCF-C2BE-9E5F2AF707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04B3DE-54D0-45AE-BA57-2B5C3F5619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6/11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83A5F3-E545-D9AE-4341-888B71E29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082A83-0BF0-44B1-9257-39D4D2202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5227138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cono&#10;&#10;Descripción generada automáticamente">
            <a:extLst>
              <a:ext uri="{FF2B5EF4-FFF2-40B4-BE49-F238E27FC236}">
                <a16:creationId xmlns:a16="http://schemas.microsoft.com/office/drawing/2014/main" id="{3A7828E9-05E8-B64F-8F6F-44695C39DB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666" y="483431"/>
            <a:ext cx="2793241" cy="1043389"/>
          </a:xfrm>
          <a:prstGeom prst="rect">
            <a:avLst/>
          </a:prstGeom>
        </p:spPr>
      </p:pic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DFB0473-E01D-C64A-A712-803428BB241D}"/>
              </a:ext>
            </a:extLst>
          </p:cNvPr>
          <p:cNvCxnSpPr/>
          <p:nvPr userDrawn="1"/>
        </p:nvCxnSpPr>
        <p:spPr>
          <a:xfrm>
            <a:off x="742666" y="2852382"/>
            <a:ext cx="976953" cy="0"/>
          </a:xfrm>
          <a:prstGeom prst="line">
            <a:avLst/>
          </a:prstGeom>
          <a:ln w="50800">
            <a:gradFill>
              <a:gsLst>
                <a:gs pos="35002">
                  <a:schemeClr val="accent2"/>
                </a:gs>
                <a:gs pos="0">
                  <a:schemeClr val="accent1"/>
                </a:gs>
                <a:gs pos="67000">
                  <a:schemeClr val="accent3"/>
                </a:gs>
                <a:gs pos="83000">
                  <a:schemeClr val="accent4"/>
                </a:gs>
                <a:gs pos="100000">
                  <a:schemeClr val="accent5"/>
                </a:gs>
              </a:gsLst>
              <a:lin ang="180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ítulo 9">
            <a:extLst>
              <a:ext uri="{FF2B5EF4-FFF2-40B4-BE49-F238E27FC236}">
                <a16:creationId xmlns:a16="http://schemas.microsoft.com/office/drawing/2014/main" id="{9F85B710-F3D0-3149-8F8C-4964AA82F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2666" y="1724872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lang="es-ES_tradnl" sz="3500" b="1" i="0" kern="1200" dirty="0">
                <a:solidFill>
                  <a:schemeClr val="accent3"/>
                </a:solidFill>
                <a:latin typeface="Biko" panose="02000000000000000000" pitchFamily="2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8371858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5">
    <p:bg>
      <p:bgPr>
        <a:blipFill dpi="0" rotWithShape="1">
          <a:blip r:embed="rId2">
            <a:lum/>
          </a:blip>
          <a:srcRect/>
          <a:stretch>
            <a:fillRect t="-39000" b="-3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  <a:alpha val="60000"/>
            </a:schemeClr>
          </a:solidFill>
        </p:spPr>
        <p:txBody>
          <a:bodyPr>
            <a:normAutofit/>
          </a:bodyPr>
          <a:lstStyle>
            <a:lvl1pPr>
              <a:defRPr sz="1333" b="0" i="0">
                <a:latin typeface="Muli ExtraLight" panose="02000303000000000000" pitchFamily="2" charset="77"/>
              </a:defRPr>
            </a:lvl1pPr>
          </a:lstStyle>
          <a:p>
            <a:endParaRPr lang="en-GB"/>
          </a:p>
        </p:txBody>
      </p:sp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8F504658-A186-DA46-91AC-CD7DCA491A0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9412" y="984250"/>
            <a:ext cx="4965700" cy="488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898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5">
            <a:extLst>
              <a:ext uri="{FF2B5EF4-FFF2-40B4-BE49-F238E27FC236}">
                <a16:creationId xmlns:a16="http://schemas.microsoft.com/office/drawing/2014/main" id="{A3FD749F-C720-214A-A969-21674FCD9D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389" t="95" r="1389"/>
          <a:stretch>
            <a:fillRect/>
          </a:stretch>
        </p:blipFill>
        <p:spPr>
          <a:xfrm>
            <a:off x="0" y="-854690"/>
            <a:ext cx="1466850" cy="7853911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8074D80-D7FF-48B2-9E7F-3F68F4E51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71972"/>
            <a:ext cx="9191625" cy="6020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3500" b="0" i="0">
                <a:latin typeface="Biko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Imagen 6" descr="Imagen que contiene Icono&#10;&#10;Descripción generada automáticamente">
            <a:extLst>
              <a:ext uri="{FF2B5EF4-FFF2-40B4-BE49-F238E27FC236}">
                <a16:creationId xmlns:a16="http://schemas.microsoft.com/office/drawing/2014/main" id="{B45C973A-DA1A-0C47-8A82-9AC5C1945B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531" y="286958"/>
            <a:ext cx="1116537" cy="417072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FE824C9A-610B-284F-B52D-CDC2C8EA032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67401"/>
          <a:stretch>
            <a:fillRect/>
          </a:stretch>
        </p:blipFill>
        <p:spPr>
          <a:xfrm>
            <a:off x="552450" y="138908"/>
            <a:ext cx="141233" cy="1226904"/>
          </a:xfrm>
          <a:prstGeom prst="rect">
            <a:avLst/>
          </a:prstGeom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8E35EDF2-5A9E-8848-9A89-D12B95663D1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42865" r="50861"/>
          <a:stretch>
            <a:fillRect/>
          </a:stretch>
        </p:blipFill>
        <p:spPr>
          <a:xfrm>
            <a:off x="12022359" y="-87682"/>
            <a:ext cx="227685" cy="6973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783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4E2C57-28AE-9949-974A-05D75B15E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es-ES_tradnl" sz="3500" b="0" i="0">
                <a:latin typeface="Bik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s-ES"/>
              <a:t>Haga clic para modificar el estilo de título del patrón</a:t>
            </a:r>
            <a:endParaRPr lang="es-ES_tradnl"/>
          </a:p>
        </p:txBody>
      </p:sp>
      <p:pic>
        <p:nvPicPr>
          <p:cNvPr id="3" name="Imagen 3" descr="Imagen que contiene Icono&#10;&#10;Descripción generada automáticamente">
            <a:extLst>
              <a:ext uri="{FF2B5EF4-FFF2-40B4-BE49-F238E27FC236}">
                <a16:creationId xmlns:a16="http://schemas.microsoft.com/office/drawing/2014/main" id="{363E285E-DD5A-4353-BD84-DE8B526223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531" y="286958"/>
            <a:ext cx="1116537" cy="41707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970CE35-E948-481A-ACD4-0C7DAD602CD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0" y="2695592"/>
            <a:ext cx="8049803" cy="9144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1pPr>
            <a:lvl2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2pPr>
            <a:lvl3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3pPr>
            <a:lvl4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4pPr>
            <a:lvl5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Muli" panose="02000303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91962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0513E2-E609-231A-D4EC-022ABC5D1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53804C-24AD-2698-308B-10FE943F81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77BB2C-4748-F8C5-7C8D-92B27BDC02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6/11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1861AA-74E2-138C-1F4C-1D442C470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2C4773-E6E3-4AF0-B38F-8DDF24D5A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934488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C219A-4F2D-652E-BF44-4F880EBBA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849490-A2DE-3413-5336-12EA3E676C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C154FA-3134-A015-6BCD-51DF96147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6/11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551A48-D28E-0C25-5348-87906E844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27B2E6-BE96-829A-BC50-AB9140FA2C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3293936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0912AB-E263-F58C-77F6-434766DFC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9C09EA-5A0B-168E-EE78-0FBA8135B4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083D24-957C-0F26-60DF-2159E5032F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5D4EA1-925F-B85D-FFEA-9DDB48D8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6/11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963AFA-AD2B-02E3-7718-4240F2FE9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267831-5400-C182-CB19-9A7D1566B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38528597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EF927-B4DA-AA0A-8206-83034267E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DFC79F-B4E0-B4E6-9B1F-AB4CA7F6CD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3C4B4C-C016-B6AB-6FC1-3061790506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F0298-E5C1-6297-9BDC-D04C27981B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93AE4F-32A0-01B1-15FD-D8E72C4D82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5CB2A4D-EAEF-4EDA-D3B9-1F9175E598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6/11/23</a:t>
            </a:fld>
            <a:endParaRPr lang="en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4E14506-84BA-125A-15D5-D16A11BAB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08BD54-D807-1D8B-92D2-ACB26B468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9725274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78FE5-A09F-DF04-7CE5-4BCA696E0D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F7EC64-AC56-6EB4-958B-D9343F51F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6/11/23</a:t>
            </a:fld>
            <a:endParaRPr lang="en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F5BD13-43DF-128B-BED8-0D9D7335D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B1C233-346B-B22A-108C-6E16F5AD7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1716726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EE3652-8736-5468-523B-4535289B5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6/11/23</a:t>
            </a:fld>
            <a:endParaRPr lang="en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BEB1D1-03EF-39FD-7644-433A68009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DEB8C7-C03F-00A4-070E-DD6F82F28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2870919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1F342-E3B3-77B4-3E7D-FC37169A5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028842-5403-8024-3965-596EFB6D7F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A99341-84B3-A80A-6E2F-6481CCFDE4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0F99E4-9000-0821-B67D-D48CE0B68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6/11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AC333F-E9EA-1ACD-CFC4-4736DC8C71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D3772A-0BE1-7C2E-3B01-EA2D6C2D4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6554281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240ED6-F401-3218-2634-38C56866B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817B1D-9A04-8733-94FC-0164E3C26A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932744-FC91-EE74-FEB0-D7CCEB214E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6E6840-217A-B214-3553-E597A8795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454E0-B77A-8847-A9AC-F52195A9209A}" type="datetimeFigureOut">
              <a:rPr lang="en-ES" smtClean="0"/>
              <a:t>6/11/23</a:t>
            </a:fld>
            <a:endParaRPr lang="en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8BE9C8-446C-FF2F-FB66-1CBC83487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79DCCB-AF31-BFC4-2304-47C633253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6322549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1B90D7-A30F-E471-1307-8C387BFB3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BDC7B-9D94-080D-2CF2-44C2D8C1B2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8952DC-01B3-E835-1CDA-27B115BC03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D454E0-B77A-8847-A9AC-F52195A9209A}" type="datetimeFigureOut">
              <a:rPr lang="en-ES" smtClean="0"/>
              <a:t>6/11/23</a:t>
            </a:fld>
            <a:endParaRPr lang="en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714E0B-F767-14AD-75EB-FCDAED74B2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8BF6D2-8BCE-9D55-340E-3870003C73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C73528-9500-2546-BEC8-894C02F22A66}" type="slidenum">
              <a:rPr lang="en-ES" smtClean="0"/>
              <a:t>‹#›</a:t>
            </a:fld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2944643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developer.apple.com/documentation/visionos" TargetMode="Externa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11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8.emf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4E2AD6C-176D-1542-942F-D4DD39904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018" y="2002616"/>
            <a:ext cx="10515600" cy="757130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GB" b="1" dirty="0" err="1">
                <a:effectLst/>
              </a:rPr>
              <a:t>VisionOS</a:t>
            </a:r>
            <a:r>
              <a:rPr lang="en-GB" b="1" dirty="0">
                <a:effectLst/>
              </a:rPr>
              <a:t> y Apple Vision Pro: la </a:t>
            </a:r>
            <a:r>
              <a:rPr lang="en-GB" b="1" dirty="0" err="1">
                <a:effectLst/>
              </a:rPr>
              <a:t>nueva</a:t>
            </a:r>
            <a:r>
              <a:rPr lang="en-GB" b="1" dirty="0">
                <a:effectLst/>
              </a:rPr>
              <a:t> forma de </a:t>
            </a:r>
            <a:r>
              <a:rPr lang="en-GB" b="1" dirty="0" err="1">
                <a:effectLst/>
              </a:rPr>
              <a:t>ver</a:t>
            </a:r>
            <a:r>
              <a:rPr lang="en-GB" b="1" dirty="0">
                <a:effectLst/>
              </a:rPr>
              <a:t> </a:t>
            </a:r>
            <a:r>
              <a:rPr lang="en-GB" b="1" dirty="0" err="1">
                <a:effectLst/>
              </a:rPr>
              <a:t>el</a:t>
            </a:r>
            <a:r>
              <a:rPr lang="en-GB" b="1" dirty="0">
                <a:effectLst/>
              </a:rPr>
              <a:t> </a:t>
            </a:r>
            <a:r>
              <a:rPr lang="en-GB" b="1" dirty="0" err="1">
                <a:effectLst/>
              </a:rPr>
              <a:t>mundo</a:t>
            </a:r>
            <a:endParaRPr lang="es-ES_tradnl" dirty="0"/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BBFE9A40-2301-6644-ACA9-A39F89969EFF}"/>
              </a:ext>
            </a:extLst>
          </p:cNvPr>
          <p:cNvSpPr txBox="1"/>
          <p:nvPr/>
        </p:nvSpPr>
        <p:spPr>
          <a:xfrm>
            <a:off x="729018" y="2967335"/>
            <a:ext cx="6135726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2400" spc="600" dirty="0">
                <a:solidFill>
                  <a:prstClr val="white">
                    <a:lumMod val="50000"/>
                  </a:prstClr>
                </a:solidFill>
                <a:latin typeface="Biko" charset="0"/>
              </a:rPr>
              <a:t>Javier Laguna</a:t>
            </a:r>
            <a:endParaRPr lang="en-US" sz="2400" spc="600" dirty="0">
              <a:solidFill>
                <a:prstClr val="white">
                  <a:lumMod val="50000"/>
                </a:prstClr>
              </a:solidFill>
              <a:latin typeface="Bik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7136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4916783-668F-EE81-9C19-A0922FBDE1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025" y="2522590"/>
            <a:ext cx="5819774" cy="327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FDB14ED-4894-6044-3021-9F5A4D147B99}"/>
              </a:ext>
            </a:extLst>
          </p:cNvPr>
          <p:cNvSpPr txBox="1"/>
          <p:nvPr/>
        </p:nvSpPr>
        <p:spPr>
          <a:xfrm>
            <a:off x="1207077" y="2196572"/>
            <a:ext cx="4593648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 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lg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co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índic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emen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virtual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ntall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té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 E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co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lsar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ug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l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ntall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ispositiv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iPhone o un iPad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oble toqu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inici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ges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doble to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iPhone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Mac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elliz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antene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e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uy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areci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o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antene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l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iPhone.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rv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un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ontó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funcion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com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d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esal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ext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ellizcar</a:t>
            </a: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rrastr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utiliz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s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mover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nta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ed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horizontal 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rticalmen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i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uev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mano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prisa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,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odr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splazart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má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ápi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Zoom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hac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junt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epar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manos para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cerc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 imagen. El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amañ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de la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enta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también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s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puede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jus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arrastrando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esquina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  <a:p>
            <a:pPr algn="l"/>
            <a:endParaRPr lang="en-GB" sz="1200" b="0" i="0" dirty="0">
              <a:solidFill>
                <a:srgbClr val="000000"/>
              </a:solidFill>
              <a:effectLst/>
              <a:latin typeface="Montserrat" panose="020F05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200" b="1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o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: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habrá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que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jun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l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ded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rotar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las manos, y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servirá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para manipular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objeto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 </a:t>
            </a:r>
            <a:r>
              <a:rPr lang="en-GB" sz="1200" b="0" i="0" dirty="0" err="1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virtuales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Montserrat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09964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0CCE00FC-E888-07F1-233A-C1D364EA2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7174" y="2397202"/>
            <a:ext cx="7977652" cy="3988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92680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5. Hay que evitar los textos en 3D porque son difíciles de leer desde algúnos ángulo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9E0F1D-B362-CFC0-FB3F-864FCA63E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3845" y="2751502"/>
            <a:ext cx="6544310" cy="3634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2745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6. Mantener la app siempre en una ventana a no ser que tener más ventanas ayuden al usuario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64F3A0-C213-0C02-A6AE-858BFDBA97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6644" y="2834544"/>
            <a:ext cx="6537960" cy="3551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524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7. Colocar el contenido en relación a la cabeza y la mirada del usuario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9D8067-F361-73A3-1FCC-6178D3D1FC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1007" y="2794000"/>
            <a:ext cx="6569985" cy="3742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4845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8. Fijar el contenido al espacio y no a la visión del usuario porque puede causar desorientación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F9062E-684C-A520-838A-774069CC35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0355" y="2914079"/>
            <a:ext cx="6511290" cy="347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5359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9. Si el usuario se mueve desvanecer el contenido para evitar desorientacione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6AF434-BAA3-D852-BFC2-13CBEB1045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3787" y="2733414"/>
            <a:ext cx="6964426" cy="3709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6563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10. En los espacios inmersivos siempre mostrar al usuario como salir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5B1CF6-2B28-0161-24D8-2AA634FC2D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2555" y="2668354"/>
            <a:ext cx="6866890" cy="3752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0805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91B5FC-0A01-E436-0B00-E621DBDE92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8224" y="1511744"/>
            <a:ext cx="8815552" cy="495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2782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2AC6E-DF19-1C46-9272-A887E53A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Nuevos componentes de </a:t>
            </a:r>
            <a:r>
              <a:rPr lang="es-ES_tradnl" dirty="0" err="1"/>
              <a:t>SwiftUI</a:t>
            </a:r>
            <a:endParaRPr lang="es-ES_tradnl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287E818-71B0-C048-D762-90326CDD03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75" y="1809751"/>
            <a:ext cx="10610850" cy="4194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96628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">
            <a:extLst>
              <a:ext uri="{FF2B5EF4-FFF2-40B4-BE49-F238E27FC236}">
                <a16:creationId xmlns:a16="http://schemas.microsoft.com/office/drawing/2014/main" id="{DC857A4E-D105-8049-9194-D3A71A55B28C}"/>
              </a:ext>
            </a:extLst>
          </p:cNvPr>
          <p:cNvGrpSpPr/>
          <p:nvPr/>
        </p:nvGrpSpPr>
        <p:grpSpPr>
          <a:xfrm>
            <a:off x="471979" y="4103641"/>
            <a:ext cx="7433688" cy="1848251"/>
            <a:chOff x="2379156" y="2529968"/>
            <a:chExt cx="7433688" cy="1848251"/>
          </a:xfrm>
        </p:grpSpPr>
        <p:sp>
          <p:nvSpPr>
            <p:cNvPr id="4" name="TextBox 4">
              <a:extLst>
                <a:ext uri="{FF2B5EF4-FFF2-40B4-BE49-F238E27FC236}">
                  <a16:creationId xmlns:a16="http://schemas.microsoft.com/office/drawing/2014/main" id="{4155760F-4FC7-A943-AE4D-088A152A2C24}"/>
                </a:ext>
              </a:extLst>
            </p:cNvPr>
            <p:cNvSpPr txBox="1"/>
            <p:nvPr/>
          </p:nvSpPr>
          <p:spPr>
            <a:xfrm>
              <a:off x="2379156" y="2529968"/>
              <a:ext cx="7433688" cy="101566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6000" dirty="0" err="1">
                  <a:solidFill>
                    <a:schemeClr val="bg1"/>
                  </a:solidFill>
                  <a:latin typeface="Biko" panose="02000000000000000000" pitchFamily="2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Documentación</a:t>
              </a:r>
              <a:endParaRPr lang="en-US" sz="6000" dirty="0">
                <a:solidFill>
                  <a:schemeClr val="bg1"/>
                </a:solidFill>
                <a:latin typeface="Biko" panose="02000000000000000000" pitchFamily="2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5" name="TextBox 6">
              <a:extLst>
                <a:ext uri="{FF2B5EF4-FFF2-40B4-BE49-F238E27FC236}">
                  <a16:creationId xmlns:a16="http://schemas.microsoft.com/office/drawing/2014/main" id="{CB91F5BB-BE23-EC4E-B808-BE4E753678D3}"/>
                </a:ext>
              </a:extLst>
            </p:cNvPr>
            <p:cNvSpPr txBox="1"/>
            <p:nvPr/>
          </p:nvSpPr>
          <p:spPr>
            <a:xfrm>
              <a:off x="2379156" y="3670333"/>
              <a:ext cx="5576168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000" spc="600" dirty="0">
                  <a:solidFill>
                    <a:schemeClr val="bg1"/>
                  </a:solidFill>
                  <a:latin typeface="Biko" charset="0"/>
                  <a:hlinkClick r:id="rId2"/>
                </a:rPr>
                <a:t>https://developer.apple.com/documentation/visionos</a:t>
              </a:r>
              <a:endParaRPr lang="en-US" sz="2000" spc="600" dirty="0">
                <a:solidFill>
                  <a:schemeClr val="bg1"/>
                </a:solidFill>
                <a:latin typeface="Biko" charset="0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ACB62E3A-F7CC-1E4D-9B42-78017F6EF20D}"/>
                </a:ext>
              </a:extLst>
            </p:cNvPr>
            <p:cNvCxnSpPr>
              <a:cxnSpLocks/>
            </p:cNvCxnSpPr>
            <p:nvPr/>
          </p:nvCxnSpPr>
          <p:spPr>
            <a:xfrm>
              <a:off x="2505996" y="3662465"/>
              <a:ext cx="491824" cy="0"/>
            </a:xfrm>
            <a:prstGeom prst="line">
              <a:avLst/>
            </a:prstGeom>
            <a:noFill/>
            <a:ln w="635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439777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366943" y="461639"/>
            <a:ext cx="5444971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3733" b="1" dirty="0">
                <a:solidFill>
                  <a:srgbClr val="325D80"/>
                </a:solidFill>
                <a:latin typeface="Biko" charset="0"/>
                <a:ea typeface="Biko" charset="0"/>
                <a:cs typeface="Biko" charset="0"/>
              </a:rPr>
              <a:t>Simulador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367" y="296801"/>
            <a:ext cx="1384916" cy="620187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0528" y="3358776"/>
            <a:ext cx="1046593" cy="331295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C701626-39E8-85C3-4A58-A3A5D8EC0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45775" y="1314028"/>
            <a:ext cx="6732277" cy="5357705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64DF94D9-DDBB-8FA3-7017-9B4833137F7C}"/>
              </a:ext>
            </a:extLst>
          </p:cNvPr>
          <p:cNvSpPr/>
          <p:nvPr/>
        </p:nvSpPr>
        <p:spPr>
          <a:xfrm>
            <a:off x="7512627" y="1128425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34072D8-5A68-3892-5C74-65EB8DAD04A5}"/>
              </a:ext>
            </a:extLst>
          </p:cNvPr>
          <p:cNvSpPr/>
          <p:nvPr/>
        </p:nvSpPr>
        <p:spPr>
          <a:xfrm>
            <a:off x="7321835" y="5694988"/>
            <a:ext cx="2047009" cy="97674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/>
          </a:p>
        </p:txBody>
      </p:sp>
    </p:spTree>
    <p:extLst>
      <p:ext uri="{BB962C8B-B14F-4D97-AF65-F5344CB8AC3E}">
        <p14:creationId xmlns:p14="http://schemas.microsoft.com/office/powerpoint/2010/main" val="17580833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ality Composer Pr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8A8B00A-5098-4FC5-A9E9-FFBEEAAC9FEC}"/>
              </a:ext>
            </a:extLst>
          </p:cNvPr>
          <p:cNvSpPr txBox="1"/>
          <p:nvPr/>
        </p:nvSpPr>
        <p:spPr>
          <a:xfrm>
            <a:off x="937832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4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1AC58B-E77E-6717-1D57-FA216BDD95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0188" y="1134183"/>
            <a:ext cx="9191624" cy="5584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2434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C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 dirty="0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 dirty="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2053F5-D494-7064-DE22-6948A41B36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4867" y="2439997"/>
            <a:ext cx="6757295" cy="399903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73185A0-1407-8F45-0C50-6B056483F306}"/>
              </a:ext>
            </a:extLst>
          </p:cNvPr>
          <p:cNvSpPr txBox="1"/>
          <p:nvPr/>
        </p:nvSpPr>
        <p:spPr>
          <a:xfrm>
            <a:off x="1457325" y="20002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ES" dirty="0"/>
          </a:p>
        </p:txBody>
      </p:sp>
      <p:pic>
        <p:nvPicPr>
          <p:cNvPr id="1026" name="Picture 2" descr="Entity Component System">
            <a:extLst>
              <a:ext uri="{FF2B5EF4-FFF2-40B4-BE49-F238E27FC236}">
                <a16:creationId xmlns:a16="http://schemas.microsoft.com/office/drawing/2014/main" id="{136AA386-F2D3-15D2-172A-12B8FE0C9F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9021" y="969182"/>
            <a:ext cx="8153957" cy="14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35623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C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 dirty="0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 dirty="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1362221" y="2737636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 dirty="0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3185A0-1407-8F45-0C50-6B056483F306}"/>
              </a:ext>
            </a:extLst>
          </p:cNvPr>
          <p:cNvSpPr txBox="1"/>
          <p:nvPr/>
        </p:nvSpPr>
        <p:spPr>
          <a:xfrm>
            <a:off x="1457325" y="20002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E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DC78A5-4663-0357-856E-06FC98935ABC}"/>
              </a:ext>
            </a:extLst>
          </p:cNvPr>
          <p:cNvSpPr txBox="1"/>
          <p:nvPr/>
        </p:nvSpPr>
        <p:spPr>
          <a:xfrm>
            <a:off x="8130934" y="2697944"/>
            <a:ext cx="24821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1200" dirty="0"/>
              <a:t>Contienen código que actua sobre</a:t>
            </a:r>
          </a:p>
          <a:p>
            <a:r>
              <a:rPr lang="en-ES" sz="1200" dirty="0"/>
              <a:t>las entities y compon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34BB3A-CAD8-CD1D-D327-0ABA24E6073F}"/>
              </a:ext>
            </a:extLst>
          </p:cNvPr>
          <p:cNvSpPr txBox="1"/>
          <p:nvPr/>
        </p:nvSpPr>
        <p:spPr>
          <a:xfrm>
            <a:off x="4881967" y="2698347"/>
            <a:ext cx="27626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err="1"/>
              <a:t>Sirven</a:t>
            </a:r>
            <a:r>
              <a:rPr lang="en-GB" sz="1200" dirty="0"/>
              <a:t> p</a:t>
            </a:r>
            <a:r>
              <a:rPr lang="en-ES" sz="1200" dirty="0"/>
              <a:t>ara definir el aspecto y comportamiento de los modelos 3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776132E-6FBF-02F6-85D4-51C102F32F5C}"/>
              </a:ext>
            </a:extLst>
          </p:cNvPr>
          <p:cNvSpPr txBox="1"/>
          <p:nvPr/>
        </p:nvSpPr>
        <p:spPr>
          <a:xfrm>
            <a:off x="1642057" y="2698349"/>
            <a:ext cx="24821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Están</a:t>
            </a:r>
            <a:r>
              <a:rPr lang="en-US" sz="1200" dirty="0"/>
              <a:t> </a:t>
            </a:r>
            <a:r>
              <a:rPr lang="en-US" sz="1200" dirty="0" err="1"/>
              <a:t>formadas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components.</a:t>
            </a:r>
          </a:p>
          <a:p>
            <a:r>
              <a:rPr lang="en-US" sz="1200" dirty="0"/>
              <a:t>Toda Entity </a:t>
            </a:r>
            <a:r>
              <a:rPr lang="en-US" sz="1200" dirty="0" err="1"/>
              <a:t>tiene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Component Transform, </a:t>
            </a:r>
            <a:r>
              <a:rPr lang="en-US" sz="1200" dirty="0" err="1"/>
              <a:t>pero</a:t>
            </a:r>
            <a:r>
              <a:rPr lang="en-US" sz="1200" dirty="0"/>
              <a:t> no </a:t>
            </a:r>
            <a:r>
              <a:rPr lang="en-US" sz="1200" dirty="0" err="1"/>
              <a:t>todas</a:t>
            </a:r>
            <a:r>
              <a:rPr lang="en-US" sz="1200" dirty="0"/>
              <a:t> </a:t>
            </a:r>
            <a:r>
              <a:rPr lang="en-US" sz="1200" dirty="0" err="1"/>
              <a:t>tienen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</a:t>
            </a:r>
            <a:r>
              <a:rPr lang="en-US" sz="1200" dirty="0" err="1"/>
              <a:t>qué</a:t>
            </a:r>
            <a:r>
              <a:rPr lang="en-US" sz="1200" dirty="0"/>
              <a:t> </a:t>
            </a:r>
            <a:r>
              <a:rPr lang="en-US" sz="1200" dirty="0" err="1"/>
              <a:t>tener</a:t>
            </a:r>
            <a:r>
              <a:rPr lang="en-US" sz="1200" dirty="0"/>
              <a:t> </a:t>
            </a:r>
            <a:r>
              <a:rPr lang="en-US" sz="1200" dirty="0" err="1"/>
              <a:t>el</a:t>
            </a:r>
            <a:r>
              <a:rPr lang="en-US" sz="1200" dirty="0"/>
              <a:t> Component Model.</a:t>
            </a:r>
          </a:p>
          <a:p>
            <a:r>
              <a:rPr lang="en-US" sz="1200" dirty="0"/>
              <a:t>A </a:t>
            </a:r>
            <a:r>
              <a:rPr lang="en-US" sz="1200" dirty="0" err="1"/>
              <a:t>veces</a:t>
            </a:r>
            <a:r>
              <a:rPr lang="en-US" sz="1200" dirty="0"/>
              <a:t> </a:t>
            </a:r>
            <a:r>
              <a:rPr lang="en-US" sz="1200" dirty="0" err="1"/>
              <a:t>están</a:t>
            </a:r>
            <a:r>
              <a:rPr lang="en-US" sz="1200" dirty="0"/>
              <a:t> </a:t>
            </a:r>
            <a:r>
              <a:rPr lang="en-US" sz="1200" dirty="0" err="1"/>
              <a:t>creadas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conjunto de </a:t>
            </a:r>
            <a:r>
              <a:rPr lang="en-US" sz="1200" dirty="0" err="1"/>
              <a:t>entidades</a:t>
            </a:r>
            <a:r>
              <a:rPr lang="en-US" sz="1200" dirty="0"/>
              <a:t> </a:t>
            </a:r>
            <a:r>
              <a:rPr lang="en-US" sz="1200" dirty="0" err="1"/>
              <a:t>hijas</a:t>
            </a:r>
            <a:r>
              <a:rPr lang="en-US" sz="1200" dirty="0"/>
              <a:t>.</a:t>
            </a:r>
            <a:endParaRPr lang="en-ES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22E1F1-EE38-508B-6C32-BE477251DB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7932" y="1207408"/>
            <a:ext cx="1843071" cy="10968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74F774C-02D5-3E3A-3AED-280D49CAD8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1839" y="1207408"/>
            <a:ext cx="1899427" cy="109685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B44873E-05CB-BB78-6F7B-324F9133A9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72102" y="1207408"/>
            <a:ext cx="1901210" cy="10968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207EEAA-5708-F9A0-3D5F-5771AD6347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9020" y="3967838"/>
            <a:ext cx="3045649" cy="2626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29088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nimations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ECE841-4137-DB3A-5A9C-CCFCC20CE5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3080" y="1841448"/>
            <a:ext cx="9190772" cy="394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2989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9EA327-01BE-F560-CE7F-1B437E34C9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9123" y="1654122"/>
            <a:ext cx="8873754" cy="4422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8765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68300C0-477F-C16D-A699-7E009AA8C6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7400" y="1387332"/>
            <a:ext cx="7772400" cy="499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1388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EA3B0AE-9E1C-6C79-37C1-C163B8D4CD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4050" y="1499925"/>
            <a:ext cx="8105775" cy="4748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05228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72">
            <a:extLst>
              <a:ext uri="{FF2B5EF4-FFF2-40B4-BE49-F238E27FC236}">
                <a16:creationId xmlns:a16="http://schemas.microsoft.com/office/drawing/2014/main" id="{204E180E-125E-4418-8B40-0FBB675C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onent - Audio</a:t>
            </a:r>
          </a:p>
        </p:txBody>
      </p:sp>
      <p:sp>
        <p:nvSpPr>
          <p:cNvPr id="74" name="Footer Placeholder 73">
            <a:extLst>
              <a:ext uri="{FF2B5EF4-FFF2-40B4-BE49-F238E27FC236}">
                <a16:creationId xmlns:a16="http://schemas.microsoft.com/office/drawing/2014/main" id="{CC57A644-397F-46B2-A6A0-FFE0395AF7C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52450" y="6353968"/>
            <a:ext cx="30099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Project Proposal | </a:t>
            </a:r>
            <a:r>
              <a:rPr lang="en-US">
                <a:solidFill>
                  <a:schemeClr val="bg1"/>
                </a:solidFill>
                <a:latin typeface="Muli" panose="02000503000000000000" pitchFamily="2" charset="77"/>
              </a:rPr>
              <a:t>Presentation</a:t>
            </a:r>
            <a:endParaRPr lang="en-US" sz="1400">
              <a:solidFill>
                <a:schemeClr val="bg1"/>
              </a:solidFill>
              <a:latin typeface="Muli" panose="02000503000000000000" pitchFamily="2" charset="7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120DEC-BE22-467F-9E89-F21949CA26FD}"/>
              </a:ext>
            </a:extLst>
          </p:cNvPr>
          <p:cNvSpPr txBox="1"/>
          <p:nvPr/>
        </p:nvSpPr>
        <p:spPr>
          <a:xfrm>
            <a:off x="882597" y="2170910"/>
            <a:ext cx="2072270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0F3A1E-1F04-4458-AD59-D22209316E81}"/>
              </a:ext>
            </a:extLst>
          </p:cNvPr>
          <p:cNvSpPr txBox="1"/>
          <p:nvPr/>
        </p:nvSpPr>
        <p:spPr>
          <a:xfrm>
            <a:off x="3793557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7D7E6-1F74-4507-9BE0-3A6956C21887}"/>
              </a:ext>
            </a:extLst>
          </p:cNvPr>
          <p:cNvSpPr txBox="1"/>
          <p:nvPr/>
        </p:nvSpPr>
        <p:spPr>
          <a:xfrm>
            <a:off x="6582775" y="2170910"/>
            <a:ext cx="1816576" cy="690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Subtitle Text</a:t>
            </a:r>
          </a:p>
          <a:p>
            <a:pPr algn="ctr">
              <a:lnSpc>
                <a:spcPts val="2400"/>
              </a:lnSpc>
            </a:pPr>
            <a:r>
              <a:rPr lang="en-US">
                <a:solidFill>
                  <a:schemeClr val="bg1"/>
                </a:solidFill>
                <a:latin typeface="Biko" panose="02000000000000000000" pitchFamily="2" charset="0"/>
                <a:ea typeface="Open Sans bold" panose="020B0806030504020204" pitchFamily="34" charset="0"/>
                <a:cs typeface="Open Sans bold" panose="020B0806030504020204" pitchFamily="34" charset="0"/>
              </a:rPr>
              <a:t>#03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045E9DD-07E4-3270-966C-2B8797B6C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6839" y="1146092"/>
            <a:ext cx="5778321" cy="279199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4115A7D-1B88-2041-DBC7-5C574BDAAC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6839" y="4010121"/>
            <a:ext cx="5800158" cy="2656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0945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127A853-1079-EFF7-475F-A98BC1EE71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127A853-1079-EFF7-475F-A98BC1EE7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ítulo 1">
            <a:extLst>
              <a:ext uri="{FF2B5EF4-FFF2-40B4-BE49-F238E27FC236}">
                <a16:creationId xmlns:a16="http://schemas.microsoft.com/office/drawing/2014/main" id="{4CA9BDF8-EB93-D25E-D02B-4B02647D7D46}"/>
              </a:ext>
            </a:extLst>
          </p:cNvPr>
          <p:cNvSpPr txBox="1">
            <a:spLocks/>
          </p:cNvSpPr>
          <p:nvPr/>
        </p:nvSpPr>
        <p:spPr>
          <a:xfrm>
            <a:off x="4872823" y="30490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ÍNDIC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10CBA60-FAC8-FB24-95EA-DFD8BEDDD57D}"/>
              </a:ext>
            </a:extLst>
          </p:cNvPr>
          <p:cNvSpPr/>
          <p:nvPr/>
        </p:nvSpPr>
        <p:spPr>
          <a:xfrm>
            <a:off x="429814" y="2459542"/>
            <a:ext cx="3139126" cy="3139126"/>
          </a:xfrm>
          <a:prstGeom prst="ellipse">
            <a:avLst/>
          </a:prstGeom>
          <a:gradFill>
            <a:gsLst>
              <a:gs pos="0">
                <a:srgbClr val="EF7680"/>
              </a:gs>
              <a:gs pos="100000">
                <a:srgbClr val="F7A68B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artial Circle 8">
            <a:extLst>
              <a:ext uri="{FF2B5EF4-FFF2-40B4-BE49-F238E27FC236}">
                <a16:creationId xmlns:a16="http://schemas.microsoft.com/office/drawing/2014/main" id="{46E8421E-EEBF-064F-DA73-905ABDC9A70E}"/>
              </a:ext>
            </a:extLst>
          </p:cNvPr>
          <p:cNvSpPr/>
          <p:nvPr/>
        </p:nvSpPr>
        <p:spPr>
          <a:xfrm>
            <a:off x="2296997" y="1293295"/>
            <a:ext cx="4343285" cy="4343285"/>
          </a:xfrm>
          <a:prstGeom prst="pie">
            <a:avLst>
              <a:gd name="adj1" fmla="val 5426855"/>
              <a:gd name="adj2" fmla="val 16200000"/>
            </a:avLst>
          </a:prstGeom>
          <a:gradFill>
            <a:gsLst>
              <a:gs pos="0">
                <a:srgbClr val="435C7D"/>
              </a:gs>
              <a:gs pos="51000">
                <a:srgbClr val="666B8D"/>
              </a:gs>
              <a:gs pos="100000">
                <a:srgbClr val="8B6D8E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583859E1-E49A-8B8C-0920-7EC2F2719D8F}"/>
              </a:ext>
            </a:extLst>
          </p:cNvPr>
          <p:cNvSpPr/>
          <p:nvPr/>
        </p:nvSpPr>
        <p:spPr>
          <a:xfrm flipH="1" flipV="1">
            <a:off x="1883623" y="4635495"/>
            <a:ext cx="1785257" cy="1477281"/>
          </a:xfrm>
          <a:prstGeom prst="rtTriangle">
            <a:avLst/>
          </a:prstGeom>
          <a:gradFill>
            <a:gsLst>
              <a:gs pos="0">
                <a:schemeClr val="accent4"/>
              </a:gs>
              <a:gs pos="100000">
                <a:schemeClr val="accent3"/>
              </a:gs>
            </a:gsLst>
            <a:lin ang="0" scaled="0"/>
          </a:gradFill>
          <a:ln w="4373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4D0C01AE-52C1-F770-C118-B0ED272243BA}"/>
              </a:ext>
            </a:extLst>
          </p:cNvPr>
          <p:cNvSpPr txBox="1">
            <a:spLocks/>
          </p:cNvSpPr>
          <p:nvPr/>
        </p:nvSpPr>
        <p:spPr>
          <a:xfrm>
            <a:off x="4872823" y="1090723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1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6144DB3-4858-DBE1-C814-3549190DDCD3}"/>
              </a:ext>
            </a:extLst>
          </p:cNvPr>
          <p:cNvCxnSpPr/>
          <p:nvPr/>
        </p:nvCxnSpPr>
        <p:spPr>
          <a:xfrm>
            <a:off x="4996809" y="1719591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ítulo 1">
            <a:extLst>
              <a:ext uri="{FF2B5EF4-FFF2-40B4-BE49-F238E27FC236}">
                <a16:creationId xmlns:a16="http://schemas.microsoft.com/office/drawing/2014/main" id="{475242CC-3A78-E4E7-72FF-910005F71A97}"/>
              </a:ext>
            </a:extLst>
          </p:cNvPr>
          <p:cNvSpPr txBox="1">
            <a:spLocks/>
          </p:cNvSpPr>
          <p:nvPr/>
        </p:nvSpPr>
        <p:spPr>
          <a:xfrm>
            <a:off x="5647737" y="1090723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Requisít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	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C542575D-E630-0D84-9912-F6A5597264B9}"/>
              </a:ext>
            </a:extLst>
          </p:cNvPr>
          <p:cNvSpPr txBox="1">
            <a:spLocks/>
          </p:cNvSpPr>
          <p:nvPr/>
        </p:nvSpPr>
        <p:spPr>
          <a:xfrm>
            <a:off x="4872823" y="2032245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2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E0014EE-9F89-3D9A-EFE7-76EDBCE42CA9}"/>
              </a:ext>
            </a:extLst>
          </p:cNvPr>
          <p:cNvCxnSpPr/>
          <p:nvPr/>
        </p:nvCxnSpPr>
        <p:spPr>
          <a:xfrm>
            <a:off x="4996809" y="2661113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ítulo 1">
            <a:extLst>
              <a:ext uri="{FF2B5EF4-FFF2-40B4-BE49-F238E27FC236}">
                <a16:creationId xmlns:a16="http://schemas.microsoft.com/office/drawing/2014/main" id="{CCF2026C-656D-85C4-AFD3-E2E83D5E4A9D}"/>
              </a:ext>
            </a:extLst>
          </p:cNvPr>
          <p:cNvSpPr txBox="1">
            <a:spLocks/>
          </p:cNvSpPr>
          <p:nvPr/>
        </p:nvSpPr>
        <p:spPr>
          <a:xfrm>
            <a:off x="5647737" y="2032245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77">
              <a:defRPr/>
            </a:pP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Los 10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principi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básic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de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vision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	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046F2B53-B7E5-1FB3-D1BD-B6CC9D1BCA9F}"/>
              </a:ext>
            </a:extLst>
          </p:cNvPr>
          <p:cNvSpPr txBox="1">
            <a:spLocks/>
          </p:cNvSpPr>
          <p:nvPr/>
        </p:nvSpPr>
        <p:spPr>
          <a:xfrm>
            <a:off x="4872823" y="297376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3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CE99D7-0FE7-01B0-9646-8767A66DF5AB}"/>
              </a:ext>
            </a:extLst>
          </p:cNvPr>
          <p:cNvCxnSpPr/>
          <p:nvPr/>
        </p:nvCxnSpPr>
        <p:spPr>
          <a:xfrm>
            <a:off x="4996809" y="3602635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ítulo 1">
            <a:extLst>
              <a:ext uri="{FF2B5EF4-FFF2-40B4-BE49-F238E27FC236}">
                <a16:creationId xmlns:a16="http://schemas.microsoft.com/office/drawing/2014/main" id="{48A0E82F-8A0C-40A6-793B-74035D5B290F}"/>
              </a:ext>
            </a:extLst>
          </p:cNvPr>
          <p:cNvSpPr txBox="1">
            <a:spLocks/>
          </p:cNvSpPr>
          <p:nvPr/>
        </p:nvSpPr>
        <p:spPr>
          <a:xfrm>
            <a:off x="5647737" y="2973767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Nuevo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componentes</a:t>
            </a:r>
            <a:r>
              <a:rPr lang="en-US" sz="2000" dirty="0">
                <a:solidFill>
                  <a:prstClr val="black"/>
                </a:solidFill>
                <a:latin typeface="Biko" panose="02000000000000000000" pitchFamily="2" charset="0"/>
              </a:rPr>
              <a:t> de </a:t>
            </a:r>
            <a:r>
              <a:rPr lang="en-US" sz="2000" dirty="0" err="1">
                <a:solidFill>
                  <a:prstClr val="black"/>
                </a:solidFill>
                <a:latin typeface="Biko" panose="02000000000000000000" pitchFamily="2" charset="0"/>
              </a:rPr>
              <a:t>SwiftUI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4" name="Título 1">
            <a:extLst>
              <a:ext uri="{FF2B5EF4-FFF2-40B4-BE49-F238E27FC236}">
                <a16:creationId xmlns:a16="http://schemas.microsoft.com/office/drawing/2014/main" id="{C916B676-F7E9-E563-CAD6-B5E91930D239}"/>
              </a:ext>
            </a:extLst>
          </p:cNvPr>
          <p:cNvSpPr txBox="1">
            <a:spLocks/>
          </p:cNvSpPr>
          <p:nvPr/>
        </p:nvSpPr>
        <p:spPr>
          <a:xfrm>
            <a:off x="4872823" y="3915289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4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73ABC11-6232-8A1D-A397-78D7DBA422C6}"/>
              </a:ext>
            </a:extLst>
          </p:cNvPr>
          <p:cNvCxnSpPr/>
          <p:nvPr/>
        </p:nvCxnSpPr>
        <p:spPr>
          <a:xfrm>
            <a:off x="4996809" y="4544157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ítulo 1">
            <a:extLst>
              <a:ext uri="{FF2B5EF4-FFF2-40B4-BE49-F238E27FC236}">
                <a16:creationId xmlns:a16="http://schemas.microsoft.com/office/drawing/2014/main" id="{A698A14F-A8FA-8A74-A05A-5152D26EEBA1}"/>
              </a:ext>
            </a:extLst>
          </p:cNvPr>
          <p:cNvSpPr txBox="1">
            <a:spLocks/>
          </p:cNvSpPr>
          <p:nvPr/>
        </p:nvSpPr>
        <p:spPr>
          <a:xfrm>
            <a:off x="5647737" y="3915289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Simulador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3620F3D6-DDD1-4B9C-D76A-AD78702B9B39}"/>
              </a:ext>
            </a:extLst>
          </p:cNvPr>
          <p:cNvSpPr txBox="1">
            <a:spLocks/>
          </p:cNvSpPr>
          <p:nvPr/>
        </p:nvSpPr>
        <p:spPr>
          <a:xfrm>
            <a:off x="4872823" y="4856811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5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C608D7D-4DAA-74DF-62FD-C0E82E401741}"/>
              </a:ext>
            </a:extLst>
          </p:cNvPr>
          <p:cNvCxnSpPr/>
          <p:nvPr/>
        </p:nvCxnSpPr>
        <p:spPr>
          <a:xfrm>
            <a:off x="4996809" y="5485679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ítulo 1">
            <a:extLst>
              <a:ext uri="{FF2B5EF4-FFF2-40B4-BE49-F238E27FC236}">
                <a16:creationId xmlns:a16="http://schemas.microsoft.com/office/drawing/2014/main" id="{F830ECAB-D1A8-93BB-C4BA-C9B49ECE2EFF}"/>
              </a:ext>
            </a:extLst>
          </p:cNvPr>
          <p:cNvSpPr txBox="1">
            <a:spLocks/>
          </p:cNvSpPr>
          <p:nvPr/>
        </p:nvSpPr>
        <p:spPr>
          <a:xfrm>
            <a:off x="5647737" y="4856811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Reality Composer Pro</a:t>
            </a:r>
          </a:p>
        </p:txBody>
      </p:sp>
      <p:sp>
        <p:nvSpPr>
          <p:cNvPr id="32" name="Título 1">
            <a:extLst>
              <a:ext uri="{FF2B5EF4-FFF2-40B4-BE49-F238E27FC236}">
                <a16:creationId xmlns:a16="http://schemas.microsoft.com/office/drawing/2014/main" id="{905BEEE3-225E-7123-3E12-5301ADB04F95}"/>
              </a:ext>
            </a:extLst>
          </p:cNvPr>
          <p:cNvSpPr txBox="1">
            <a:spLocks/>
          </p:cNvSpPr>
          <p:nvPr/>
        </p:nvSpPr>
        <p:spPr>
          <a:xfrm>
            <a:off x="10615616" y="6575723"/>
            <a:ext cx="1533525" cy="203133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4971A4-624C-2A40-A524-AD4B72194530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17680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pPr marL="0" marR="0" lvl="0" indent="0" algn="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17680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pic>
        <p:nvPicPr>
          <p:cNvPr id="34" name="Picture 2">
            <a:extLst>
              <a:ext uri="{FF2B5EF4-FFF2-40B4-BE49-F238E27FC236}">
                <a16:creationId xmlns:a16="http://schemas.microsoft.com/office/drawing/2014/main" id="{099EB838-20F7-014C-48CE-10611F4270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14" y="1293295"/>
            <a:ext cx="2142760" cy="80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CC63DA91-3B9D-D160-B9A4-E27DE5308C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66011" y="-1548650"/>
            <a:ext cx="3328447" cy="3328447"/>
          </a:xfrm>
          <a:prstGeom prst="rect">
            <a:avLst/>
          </a:prstGeom>
        </p:spPr>
      </p:pic>
      <p:sp>
        <p:nvSpPr>
          <p:cNvPr id="27" name="Título 1">
            <a:extLst>
              <a:ext uri="{FF2B5EF4-FFF2-40B4-BE49-F238E27FC236}">
                <a16:creationId xmlns:a16="http://schemas.microsoft.com/office/drawing/2014/main" id="{20AAC158-F6AD-CE55-AF3B-9E48EB2EB82C}"/>
              </a:ext>
            </a:extLst>
          </p:cNvPr>
          <p:cNvSpPr txBox="1">
            <a:spLocks/>
          </p:cNvSpPr>
          <p:nvPr/>
        </p:nvSpPr>
        <p:spPr>
          <a:xfrm>
            <a:off x="4890511" y="5693166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BDBDBD"/>
              </a:solidFill>
              <a:effectLst/>
              <a:uLnTx/>
              <a:uFillTx/>
              <a:latin typeface="Biko" panose="02000000000000000000" pitchFamily="2" charset="0"/>
              <a:ea typeface="+mj-ea"/>
              <a:cs typeface="+mj-cs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636570DD-A905-3B53-190F-C95CC5BB4EFF}"/>
              </a:ext>
            </a:extLst>
          </p:cNvPr>
          <p:cNvSpPr txBox="1">
            <a:spLocks/>
          </p:cNvSpPr>
          <p:nvPr/>
        </p:nvSpPr>
        <p:spPr>
          <a:xfrm>
            <a:off x="4890511" y="5669968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BDBDBD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06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88F6022-54B6-BC07-82B5-6DDBF7F0CDE0}"/>
              </a:ext>
            </a:extLst>
          </p:cNvPr>
          <p:cNvCxnSpPr/>
          <p:nvPr/>
        </p:nvCxnSpPr>
        <p:spPr>
          <a:xfrm>
            <a:off x="4996809" y="6304829"/>
            <a:ext cx="599803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ítulo 1">
            <a:extLst>
              <a:ext uri="{FF2B5EF4-FFF2-40B4-BE49-F238E27FC236}">
                <a16:creationId xmlns:a16="http://schemas.microsoft.com/office/drawing/2014/main" id="{163D4DE5-BC68-3AE8-2D13-CFEEF45ECD41}"/>
              </a:ext>
            </a:extLst>
          </p:cNvPr>
          <p:cNvSpPr txBox="1">
            <a:spLocks/>
          </p:cNvSpPr>
          <p:nvPr/>
        </p:nvSpPr>
        <p:spPr>
          <a:xfrm>
            <a:off x="5647737" y="5632960"/>
            <a:ext cx="5435554" cy="785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j-ea"/>
                <a:cs typeface="+mj-cs"/>
              </a:rPr>
              <a:t>ECS</a:t>
            </a:r>
          </a:p>
        </p:txBody>
      </p:sp>
    </p:spTree>
    <p:extLst>
      <p:ext uri="{BB962C8B-B14F-4D97-AF65-F5344CB8AC3E}">
        <p14:creationId xmlns:p14="http://schemas.microsoft.com/office/powerpoint/2010/main" val="32174320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B7A54D-842E-1D05-CF51-FFB4B80F57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B7A54D-842E-1D05-CF51-FFB4B80F5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phic 13">
            <a:extLst>
              <a:ext uri="{FF2B5EF4-FFF2-40B4-BE49-F238E27FC236}">
                <a16:creationId xmlns:a16="http://schemas.microsoft.com/office/drawing/2014/main" id="{DA9E7EF8-5A76-40E3-56DF-70AFF1FF47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6818" y="-338822"/>
            <a:ext cx="3328447" cy="3328447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0712F7CA-2470-36CC-57EF-ACFE6358E751}"/>
              </a:ext>
            </a:extLst>
          </p:cNvPr>
          <p:cNvGrpSpPr/>
          <p:nvPr/>
        </p:nvGrpSpPr>
        <p:grpSpPr>
          <a:xfrm>
            <a:off x="7784444" y="-17418"/>
            <a:ext cx="4401487" cy="4188630"/>
            <a:chOff x="8848725" y="-17419"/>
            <a:chExt cx="3337206" cy="317581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233CFA4A-69E6-B0C5-A339-4D2CCD5573E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848725" y="136524"/>
              <a:ext cx="3328448" cy="3021876"/>
            </a:xfrm>
            <a:prstGeom prst="rect">
              <a:avLst/>
            </a:prstGeom>
          </p:spPr>
        </p:pic>
        <p:sp>
          <p:nvSpPr>
            <p:cNvPr id="11" name="Graphic 8">
              <a:extLst>
                <a:ext uri="{FF2B5EF4-FFF2-40B4-BE49-F238E27FC236}">
                  <a16:creationId xmlns:a16="http://schemas.microsoft.com/office/drawing/2014/main" id="{67331051-3B76-3C5D-6975-E76EDE354E76}"/>
                </a:ext>
              </a:extLst>
            </p:cNvPr>
            <p:cNvSpPr/>
            <p:nvPr/>
          </p:nvSpPr>
          <p:spPr>
            <a:xfrm>
              <a:off x="9067702" y="-17419"/>
              <a:ext cx="3118229" cy="2316771"/>
            </a:xfrm>
            <a:custGeom>
              <a:avLst/>
              <a:gdLst>
                <a:gd name="connsiteX0" fmla="*/ 0 w 3118229"/>
                <a:gd name="connsiteY0" fmla="*/ 0 h 2316771"/>
                <a:gd name="connsiteX1" fmla="*/ 2294877 w 3118229"/>
                <a:gd name="connsiteY1" fmla="*/ 2316772 h 2316771"/>
                <a:gd name="connsiteX2" fmla="*/ 3118230 w 3118229"/>
                <a:gd name="connsiteY2" fmla="*/ 2159108 h 2316771"/>
                <a:gd name="connsiteX3" fmla="*/ 3118230 w 3118229"/>
                <a:gd name="connsiteY3" fmla="*/ 0 h 2316771"/>
                <a:gd name="connsiteX4" fmla="*/ 0 w 3118229"/>
                <a:gd name="connsiteY4" fmla="*/ 0 h 2316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8229" h="2316771">
                  <a:moveTo>
                    <a:pt x="0" y="0"/>
                  </a:moveTo>
                  <a:cubicBezTo>
                    <a:pt x="26277" y="1283202"/>
                    <a:pt x="1042330" y="2316772"/>
                    <a:pt x="2294877" y="2316772"/>
                  </a:cubicBezTo>
                  <a:cubicBezTo>
                    <a:pt x="2583927" y="2316772"/>
                    <a:pt x="2864217" y="2259838"/>
                    <a:pt x="3118230" y="2159108"/>
                  </a:cubicBezTo>
                  <a:lnTo>
                    <a:pt x="3118230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EF7680"/>
                </a:gs>
                <a:gs pos="100000">
                  <a:srgbClr val="F7A68B"/>
                </a:gs>
              </a:gsLst>
              <a:lin ang="0" scaled="0"/>
            </a:gradFill>
            <a:ln w="4373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8947A084-104A-A0EB-D820-E1B61E72E9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27724" b="27724"/>
          <a:stretch/>
        </p:blipFill>
        <p:spPr bwMode="auto">
          <a:xfrm>
            <a:off x="1000771" y="3429000"/>
            <a:ext cx="2150520" cy="958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uadroTexto 3">
            <a:extLst>
              <a:ext uri="{FF2B5EF4-FFF2-40B4-BE49-F238E27FC236}">
                <a16:creationId xmlns:a16="http://schemas.microsoft.com/office/drawing/2014/main" id="{C3836448-96D8-A5F8-EBF3-1A9B34F8A57C}"/>
              </a:ext>
            </a:extLst>
          </p:cNvPr>
          <p:cNvSpPr txBox="1"/>
          <p:nvPr/>
        </p:nvSpPr>
        <p:spPr>
          <a:xfrm>
            <a:off x="798442" y="4519388"/>
            <a:ext cx="5146730" cy="461665"/>
          </a:xfrm>
          <a:prstGeom prst="rect">
            <a:avLst/>
          </a:prstGeom>
          <a:noFill/>
          <a:effectLst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400" b="1" i="0" u="none" strike="noStrike" kern="1200" cap="none" spc="300" normalizeH="0" baseline="0" noProof="0" dirty="0" err="1">
                <a:ln>
                  <a:noFill/>
                </a:ln>
                <a:solidFill>
                  <a:srgbClr val="325C7F"/>
                </a:solidFill>
                <a:effectLst/>
                <a:uLnTx/>
                <a:uFillTx/>
                <a:latin typeface="Muli" panose="02000303000000000000" pitchFamily="2" charset="0"/>
                <a:ea typeface="+mn-ea"/>
                <a:cs typeface="+mn-cs"/>
              </a:rPr>
              <a:t>Requisítos</a:t>
            </a:r>
            <a:endParaRPr kumimoji="0" lang="es-ES_tradnl" sz="2400" b="1" i="0" u="none" strike="noStrike" kern="1200" cap="none" spc="300" normalizeH="0" baseline="0" noProof="0" dirty="0">
              <a:ln>
                <a:noFill/>
              </a:ln>
              <a:solidFill>
                <a:srgbClr val="325C7F"/>
              </a:solidFill>
              <a:effectLst/>
              <a:uLnTx/>
              <a:uFillTx/>
              <a:latin typeface="Muli" panose="02000303000000000000" pitchFamily="2" charset="0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843942-9EE8-CD7E-970F-424899C6A0BE}"/>
              </a:ext>
            </a:extLst>
          </p:cNvPr>
          <p:cNvGrpSpPr/>
          <p:nvPr/>
        </p:nvGrpSpPr>
        <p:grpSpPr>
          <a:xfrm>
            <a:off x="14827" y="-17419"/>
            <a:ext cx="3419706" cy="2316771"/>
            <a:chOff x="14827" y="-17419"/>
            <a:chExt cx="3419706" cy="2316771"/>
          </a:xfrm>
        </p:grpSpPr>
        <p:sp>
          <p:nvSpPr>
            <p:cNvPr id="15" name="Right Triangle 14">
              <a:extLst>
                <a:ext uri="{FF2B5EF4-FFF2-40B4-BE49-F238E27FC236}">
                  <a16:creationId xmlns:a16="http://schemas.microsoft.com/office/drawing/2014/main" id="{E1A83F6D-E8CE-9280-6305-3CCC05AB0B4F}"/>
                </a:ext>
              </a:extLst>
            </p:cNvPr>
            <p:cNvSpPr/>
            <p:nvPr/>
          </p:nvSpPr>
          <p:spPr>
            <a:xfrm flipH="1" flipV="1">
              <a:off x="14827" y="-17419"/>
              <a:ext cx="1785257" cy="1477281"/>
            </a:xfrm>
            <a:prstGeom prst="rtTriangle">
              <a:avLst/>
            </a:prstGeom>
            <a:gradFill>
              <a:gsLst>
                <a:gs pos="0">
                  <a:srgbClr val="435C7D"/>
                </a:gs>
                <a:gs pos="51000">
                  <a:srgbClr val="666B8D"/>
                </a:gs>
                <a:gs pos="100000">
                  <a:srgbClr val="8B6D8E"/>
                </a:gs>
              </a:gsLst>
              <a:lin ang="0" scaled="0"/>
            </a:gradFill>
            <a:ln w="4373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503E0D9-99C0-5BB4-8002-4DD74FA94DB7}"/>
                </a:ext>
              </a:extLst>
            </p:cNvPr>
            <p:cNvSpPr/>
            <p:nvPr/>
          </p:nvSpPr>
          <p:spPr>
            <a:xfrm>
              <a:off x="1298614" y="163433"/>
              <a:ext cx="2135919" cy="2135919"/>
            </a:xfrm>
            <a:prstGeom prst="ellipse">
              <a:avLst/>
            </a:prstGeom>
            <a:gradFill>
              <a:gsLst>
                <a:gs pos="95495">
                  <a:srgbClr val="EF7680"/>
                </a:gs>
                <a:gs pos="0">
                  <a:srgbClr val="97638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TextBox 10">
            <a:extLst>
              <a:ext uri="{FF2B5EF4-FFF2-40B4-BE49-F238E27FC236}">
                <a16:creationId xmlns:a16="http://schemas.microsoft.com/office/drawing/2014/main" id="{881F46DB-0804-055E-C3AC-AF5BFB3697E7}"/>
              </a:ext>
            </a:extLst>
          </p:cNvPr>
          <p:cNvSpPr txBox="1"/>
          <p:nvPr/>
        </p:nvSpPr>
        <p:spPr>
          <a:xfrm>
            <a:off x="861093" y="5113361"/>
            <a:ext cx="443883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spc="300" dirty="0">
                <a:solidFill>
                  <a:prstClr val="black"/>
                </a:solidFill>
                <a:latin typeface="Biko" panose="02000000000000000000" pitchFamily="2" charset="0"/>
              </a:rPr>
              <a:t>macOS Ventura o superior</a:t>
            </a:r>
            <a:endParaRPr kumimoji="0" lang="es-ES" sz="1200" b="0" i="0" u="none" strike="noStrike" kern="120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ko" panose="02000000000000000000" pitchFamily="2" charset="0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30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Xcode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15 </a:t>
            </a:r>
            <a:r>
              <a:rPr kumimoji="0" lang="es-ES" sz="1200" b="1" i="0" u="sng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BETA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  (</a:t>
            </a:r>
            <a:r>
              <a:rPr kumimoji="0" lang="es-ES" sz="14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15.0.0</a:t>
            </a:r>
            <a:r>
              <a:rPr kumimoji="0" lang="es-ES" sz="12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ko" panose="02000000000000000000" pitchFamily="2" charset="0"/>
                <a:ea typeface="+mn-ea"/>
                <a:cs typeface="+mn-cs"/>
              </a:rPr>
              <a:t> ❌)</a:t>
            </a:r>
          </a:p>
        </p:txBody>
      </p:sp>
    </p:spTree>
    <p:extLst>
      <p:ext uri="{BB962C8B-B14F-4D97-AF65-F5344CB8AC3E}">
        <p14:creationId xmlns:p14="http://schemas.microsoft.com/office/powerpoint/2010/main" val="23361297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1.  Las dimensiones de los elementos de UI funcionan con el sistema de puntos de la misma manera que en iOS y en iPadO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390C562-C3F5-D31D-F2B0-53FA560559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8820" y="3225292"/>
            <a:ext cx="5308600" cy="302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6268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2.  No existe el modo claro o oscuro, el sistema va a adaptar automáticamente los colores dependiendo del entorno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0281AE-1253-80F9-BFCF-0C8CEF236E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9503" y="3199286"/>
            <a:ext cx="5160440" cy="318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047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3.  Tenemos nuevas formas de mostrar nuestra información al usuario. Tres tipos de Escenas.</a:t>
            </a:r>
          </a:p>
        </p:txBody>
      </p:sp>
      <p:pic>
        <p:nvPicPr>
          <p:cNvPr id="1026" name="Picture 2" descr="Building blocks of Spatial computing">
            <a:extLst>
              <a:ext uri="{FF2B5EF4-FFF2-40B4-BE49-F238E27FC236}">
                <a16:creationId xmlns:a16="http://schemas.microsoft.com/office/drawing/2014/main" id="{CC440B68-6DA7-93FB-16BD-1DD061BA07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949" y="2890129"/>
            <a:ext cx="8281350" cy="3567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0573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3.1  Existen 3 tipos de inmersión para el usuario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B0E480-7E8A-3A56-46F5-469B8B4EE4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449911"/>
            <a:ext cx="7025640" cy="393611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B4A856-84EB-4AF4-94A7-8642E99930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6752" y="2449910"/>
            <a:ext cx="3186380" cy="3936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6858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8B942-BC30-F249-AAF5-17AF1483C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>
                <a:solidFill>
                  <a:schemeClr val="tx2"/>
                </a:solidFill>
              </a:rPr>
              <a:t>Los 10 principios básicos de </a:t>
            </a:r>
            <a:r>
              <a:rPr lang="es-ES_tradnl" dirty="0" err="1">
                <a:solidFill>
                  <a:schemeClr val="tx2"/>
                </a:solidFill>
              </a:rPr>
              <a:t>visionOS</a:t>
            </a:r>
            <a:endParaRPr lang="es-ES_tradnl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8AD425-FBD1-84E1-E565-D11C4AB87051}"/>
              </a:ext>
            </a:extLst>
          </p:cNvPr>
          <p:cNvSpPr txBox="1"/>
          <p:nvPr/>
        </p:nvSpPr>
        <p:spPr>
          <a:xfrm>
            <a:off x="1700784" y="1673352"/>
            <a:ext cx="8869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ES" sz="2800" dirty="0"/>
              <a:t>4. Los gestos… y sus permiso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4FCCD0-E2AA-DA83-B778-0DDB5C430A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6040" y="3361598"/>
            <a:ext cx="5653024" cy="15493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DAFF3A7-6426-0930-F934-5E13063807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1680" y="2196572"/>
            <a:ext cx="4610109" cy="4289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207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09</TotalTime>
  <Words>719</Words>
  <Application>Microsoft Macintosh PowerPoint</Application>
  <PresentationFormat>Widescreen</PresentationFormat>
  <Paragraphs>134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7" baseType="lpstr">
      <vt:lpstr>Arial</vt:lpstr>
      <vt:lpstr>Biko</vt:lpstr>
      <vt:lpstr>Calibri</vt:lpstr>
      <vt:lpstr>Calibri Light</vt:lpstr>
      <vt:lpstr>Montserrat</vt:lpstr>
      <vt:lpstr>Muli</vt:lpstr>
      <vt:lpstr>Muli ExtraLight</vt:lpstr>
      <vt:lpstr>Office Theme</vt:lpstr>
      <vt:lpstr>think-cell Slide</vt:lpstr>
      <vt:lpstr>VisionOS y Apple Vision Pro: la nueva forma de ver el mundo</vt:lpstr>
      <vt:lpstr>PowerPoint Presentation</vt:lpstr>
      <vt:lpstr>PowerPoint Presentation</vt:lpstr>
      <vt:lpstr>PowerPoint Presentation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Los 10 principios básicos de visionOS</vt:lpstr>
      <vt:lpstr>Nuevos componentes de SwiftUI</vt:lpstr>
      <vt:lpstr>Nuevos componentes de SwiftUI</vt:lpstr>
      <vt:lpstr>PowerPoint Presentation</vt:lpstr>
      <vt:lpstr>Reality Composer Pro</vt:lpstr>
      <vt:lpstr>ECS</vt:lpstr>
      <vt:lpstr>ECS</vt:lpstr>
      <vt:lpstr>Animations</vt:lpstr>
      <vt:lpstr>Component - Audio</vt:lpstr>
      <vt:lpstr>Component - Audio</vt:lpstr>
      <vt:lpstr>Component - Audio</vt:lpstr>
      <vt:lpstr>Component - Audi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ionOS</dc:title>
  <dc:creator>Javier Laguna</dc:creator>
  <cp:lastModifiedBy>Javier Laguna</cp:lastModifiedBy>
  <cp:revision>48</cp:revision>
  <dcterms:created xsi:type="dcterms:W3CDTF">2023-10-09T13:58:46Z</dcterms:created>
  <dcterms:modified xsi:type="dcterms:W3CDTF">2023-11-06T18:15:59Z</dcterms:modified>
</cp:coreProperties>
</file>